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89372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964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852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033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375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8515435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2642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079987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07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5358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sz="2800" dirty="0" smtClean="0"/>
              <a:t>Decrease </a:t>
            </a:r>
            <a:r>
              <a:rPr lang="en-US" sz="2800" dirty="0"/>
              <a:t>drastically change over time for PET bottles and improve cleanliness of the filler</a:t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New </a:t>
            </a:r>
            <a:r>
              <a:rPr lang="en-US" dirty="0"/>
              <a:t>grippers on outlet star wheels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7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 smtClean="0">
                <a:solidFill>
                  <a:srgbClr val="000000"/>
                </a:solidFill>
              </a:rPr>
              <a:t>Flexibility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>
                <a:solidFill>
                  <a:srgbClr val="000000"/>
                </a:solidFill>
              </a:rPr>
              <a:t>Filler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HS070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200246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more format changeovers needed for PET bottl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aximum cleanliness of the machine base area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On the actual configuration, </a:t>
                      </a:r>
                      <a:r>
                        <a:rPr lang="en-US" sz="1200" kern="120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personnalisation</a:t>
                      </a: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parts are necessary to produce different sizes of PET bottl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On the new configuration, no more personalization parts needed for guides and </a:t>
                      </a:r>
                      <a:r>
                        <a:rPr lang="en-US" sz="1200" kern="120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starwheels</a:t>
                      </a: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thanks to:</a:t>
                      </a:r>
                    </a:p>
                    <a:p>
                      <a:pPr marL="720725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An adjustable conveyor</a:t>
                      </a:r>
                    </a:p>
                    <a:p>
                      <a:pPr marL="720725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Grippers instead of guides and </a:t>
                      </a:r>
                      <a:r>
                        <a:rPr lang="en-US" sz="1000" kern="120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starwheels</a:t>
                      </a:r>
                      <a:endParaRPr lang="en-US" sz="1000" kern="1200" noProof="0" dirty="0" smtClean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05318" y="4182064"/>
            <a:ext cx="2309631" cy="1313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047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5_Sidel Template 2013</vt:lpstr>
      <vt:lpstr>think-cell Folie</vt:lpstr>
      <vt:lpstr>Decrease drastically change over time for PET bottles and improve cleanliness of the filler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roduction efficiency by eliminating cap blockages   </dc:title>
  <dc:creator>De Chanteloup, Barbara</dc:creator>
  <cp:lastModifiedBy>De Chanteloup, Barbara</cp:lastModifiedBy>
  <cp:revision>2</cp:revision>
  <dcterms:created xsi:type="dcterms:W3CDTF">2014-08-07T09:12:21Z</dcterms:created>
  <dcterms:modified xsi:type="dcterms:W3CDTF">2014-08-07T09:18:18Z</dcterms:modified>
</cp:coreProperties>
</file>